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2FF39D94-A8AF-4187-963B-8D111CEB1A91}">
          <p14:sldIdLst>
            <p14:sldId id="2147475173"/>
            <p14:sldId id="2147475174"/>
            <p14:sldId id="2147475175"/>
            <p14:sldId id="2147475176"/>
            <p14:sldId id="2147475177"/>
            <p14:sldId id="2147475178"/>
            <p14:sldId id="2147475179"/>
            <p14:sldId id="2147475180"/>
            <p14:sldId id="2147475181"/>
          </p14:sldIdLst>
        </p14:section>
        <p14:section name="Brackets By Sector" id="{B0CD4B5C-6EFA-4EE9-861F-D892DA9C5872}">
          <p14:sldIdLst>
            <p14:sldId id="2147475182"/>
            <p14:sldId id="2147475183"/>
            <p14:sldId id="2147475184"/>
            <p14:sldId id="2147475185"/>
            <p14:sldId id="2147475186"/>
            <p14:sldId id="2147475187"/>
            <p14:sldId id="2147475188"/>
            <p14:sldId id="2147475189"/>
            <p14:sldId id="2147475190"/>
          </p14:sldIdLst>
        </p14:section>
        <p14:section name="Brackets By Segment" id="{C7EE27C4-7F51-44A3-AC61-54879A6E6952}">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25</c:v>
                </c:pt>
                <c:pt idx="1">
                  <c:v>0.005575455790256508</c:v>
                </c:pt>
                <c:pt idx="2">
                  <c:v>0.06814721198565897</c:v>
                </c:pt>
                <c:pt idx="3">
                  <c:v>0.11028045551334936</c:v>
                </c:pt>
                <c:pt idx="4">
                  <c:v>0.01738710146978373</c:v>
                </c:pt>
                <c:pt idx="5">
                  <c:v>0.20733639545642582</c:v>
                </c:pt>
                <c:pt idx="6">
                  <c:v>0.026923792213839906</c:v>
                </c:pt>
                <c:pt idx="7">
                  <c:v>0.05195735739691205</c:v>
                </c:pt>
                <c:pt idx="8">
                  <c:v>0.3308461997880531</c:v>
                </c:pt>
                <c:pt idx="9">
                  <c:v>0.12682383401021838</c:v>
                </c:pt>
                <c:pt idx="10">
                  <c:v>0.026739845540273522</c:v>
                </c:pt>
                <c:pt idx="11">
                  <c:v>0.0008054054550708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129154532006021</c:v>
                </c:pt>
                <c:pt idx="5">
                  <c:v>0.001504742631272532</c:v>
                </c:pt>
                <c:pt idx="8">
                  <c:v>0.006295989923369062</c:v>
                </c:pt>
                <c:pt idx="9">
                  <c:v>0.004702969750242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2">
                  <c:v>0.03196125829072428</c:v>
                </c:pt>
                <c:pt idx="3">
                  <c:v>0.002347527793684106</c:v>
                </c:pt>
                <c:pt idx="4">
                  <c:v>0.002073048452954874</c:v>
                </c:pt>
                <c:pt idx="5">
                  <c:v>0.3816274858616097</c:v>
                </c:pt>
                <c:pt idx="8">
                  <c:v>0.5662985597683995</c:v>
                </c:pt>
                <c:pt idx="9">
                  <c:v>0.014377095502457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51615494878992614</c:v>
                </c:pt>
                <c:pt idx="8">
                  <c:v>0.03683558297511893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3</c:v>
                </c:pt>
                <c:pt idx="1">
                  <c:v>0.03204776445831363</c:v>
                </c:pt>
                <c:pt idx="2">
                  <c:v>0.008405359593863451</c:v>
                </c:pt>
                <c:pt idx="3">
                  <c:v>0.029240642403088886</c:v>
                </c:pt>
                <c:pt idx="4">
                  <c:v>0.0954400099261946</c:v>
                </c:pt>
                <c:pt idx="5">
                  <c:v>0.04125013737428249</c:v>
                </c:pt>
                <c:pt idx="6">
                  <c:v>0.1994191602003694</c:v>
                </c:pt>
                <c:pt idx="7">
                  <c:v>0.325267885482307</c:v>
                </c:pt>
                <c:pt idx="8">
                  <c:v>0.09823377550427922</c:v>
                </c:pt>
                <c:pt idx="9">
                  <c:v>0.11967348660579877</c:v>
                </c:pt>
                <c:pt idx="10">
                  <c:v>0.04641859315961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7543291482773286</c:v>
                </c:pt>
                <c:pt idx="3">
                  <c:v>0.008665182825658672</c:v>
                </c:pt>
                <c:pt idx="5">
                  <c:v>0.001076612885380411</c:v>
                </c:pt>
                <c:pt idx="8">
                  <c:v>0.010776193913363263</c:v>
                </c:pt>
                <c:pt idx="9">
                  <c:v>0.00227951603229097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24</c:v>
                </c:pt>
                <c:pt idx="6">
                  <c:v>0.017951669769388317</c:v>
                </c:pt>
                <c:pt idx="7">
                  <c:v>0.019052357072915777</c:v>
                </c:pt>
                <c:pt idx="9">
                  <c:v>0.45200352226145757</c:v>
                </c:pt>
                <c:pt idx="10">
                  <c:v>0.03406943844743591</c:v>
                </c:pt>
                <c:pt idx="12">
                  <c:v>0.00745271472126842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2">
                  <c:v>0.019618191826917</c:v>
                </c:pt>
                <c:pt idx="3">
                  <c:v>0.0007402755160323117</c:v>
                </c:pt>
                <c:pt idx="5">
                  <c:v>0.3297295060960824</c:v>
                </c:pt>
                <c:pt idx="8">
                  <c:v>0.6455594961322718</c:v>
                </c:pt>
                <c:pt idx="9">
                  <c:v>0.0036391468587563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998279604987192</c:v>
                </c:pt>
                <c:pt idx="8">
                  <c:v>0.0926966531019400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2">
                  <c:v>0.03611491103837361</c:v>
                </c:pt>
                <c:pt idx="3">
                  <c:v>0.13704769360926553</c:v>
                </c:pt>
                <c:pt idx="5">
                  <c:v>0.26434531785433935</c:v>
                </c:pt>
                <c:pt idx="6">
                  <c:v>0.0011162341815090673</c:v>
                </c:pt>
                <c:pt idx="7">
                  <c:v>0.003335910917712949</c:v>
                </c:pt>
                <c:pt idx="8">
                  <c:v>0.4005920055997593</c:v>
                </c:pt>
                <c:pt idx="9">
                  <c:v>0.14397146372186226</c:v>
                </c:pt>
                <c:pt idx="10">
                  <c:v>0.00086189692849985</c:v>
                </c:pt>
                <c:pt idx="11">
                  <c:v>0.0052192045553033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3117158676907078</c:v>
                </c:pt>
                <c:pt idx="3">
                  <c:v>0.008544938853233212</c:v>
                </c:pt>
                <c:pt idx="5">
                  <c:v>0.0036803737621203944</c:v>
                </c:pt>
                <c:pt idx="8">
                  <c:v>0.01307984440436927</c:v>
                </c:pt>
                <c:pt idx="9">
                  <c:v>0.000797611918549687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9944007839767784</c:v>
                </c:pt>
                <c:pt idx="6">
                  <c:v>0.016155373871998238</c:v>
                </c:pt>
                <c:pt idx="7">
                  <c:v>0.031881979303787146</c:v>
                </c:pt>
                <c:pt idx="9">
                  <c:v>0.0012662711277150168</c:v>
                </c:pt>
                <c:pt idx="10">
                  <c:v>0.45125440925969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2">
                  <c:v>0.04854904242544989</c:v>
                </c:pt>
                <c:pt idx="3">
                  <c:v>0.00824377547534882</c:v>
                </c:pt>
                <c:pt idx="4">
                  <c:v>0.0022353924353407596</c:v>
                </c:pt>
                <c:pt idx="5">
                  <c:v>0.4711012652102141</c:v>
                </c:pt>
                <c:pt idx="8">
                  <c:v>0.45221803035632874</c:v>
                </c:pt>
                <c:pt idx="9">
                  <c:v>0.0157715880543236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5</c:v>
                </c:pt>
                <c:pt idx="1">
                  <c:v>0.028441740379247186</c:v>
                </c:pt>
                <c:pt idx="2">
                  <c:v>0.009761321362807114</c:v>
                </c:pt>
                <c:pt idx="3">
                  <c:v>0.030379211598501585</c:v>
                </c:pt>
                <c:pt idx="4">
                  <c:v>0.09760051376392251</c:v>
                </c:pt>
                <c:pt idx="5">
                  <c:v>0.04625580337690843</c:v>
                </c:pt>
                <c:pt idx="6">
                  <c:v>0.2117089305351219</c:v>
                </c:pt>
                <c:pt idx="7">
                  <c:v>0.32083983687169554</c:v>
                </c:pt>
                <c:pt idx="8">
                  <c:v>0.09078708800262184</c:v>
                </c:pt>
                <c:pt idx="9">
                  <c:v>0.11338747694483581</c:v>
                </c:pt>
                <c:pt idx="10">
                  <c:v>0.045216353372256775</c:v>
                </c:pt>
                <c:pt idx="11">
                  <c:v>0.0007565813878529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302759702440282</c:v>
                </c:pt>
                <c:pt idx="7">
                  <c:v>0.010300165534904381</c:v>
                </c:pt>
                <c:pt idx="10">
                  <c:v>0.00501971477884959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7">
                  <c:v>0.024821357447577314</c:v>
                </c:pt>
                <c:pt idx="9">
                  <c:v>0.44318587347492583</c:v>
                </c:pt>
                <c:pt idx="10">
                  <c:v>0.03191924475174359</c:v>
                </c:pt>
                <c:pt idx="11">
                  <c:v>0.00171777100381233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8643750143114343</c:v>
                </c:pt>
                <c:pt idx="10">
                  <c:v>0.0007334007568290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2">
                  <c:v>0.03196125829072428</c:v>
                </c:pt>
                <c:pt idx="3">
                  <c:v>0.002347527793684106</c:v>
                </c:pt>
                <c:pt idx="4">
                  <c:v>0.002073048452954874</c:v>
                </c:pt>
                <c:pt idx="5">
                  <c:v>0.3816274858616097</c:v>
                </c:pt>
                <c:pt idx="8">
                  <c:v>0.5662985597683995</c:v>
                </c:pt>
                <c:pt idx="9">
                  <c:v>0.014377095502457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18450420156920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3</c:v>
                </c:pt>
                <c:pt idx="1">
                  <c:v>0.03204776445831363</c:v>
                </c:pt>
                <c:pt idx="2">
                  <c:v>0.008405359593863451</c:v>
                </c:pt>
                <c:pt idx="3">
                  <c:v>0.029240642403088886</c:v>
                </c:pt>
                <c:pt idx="4">
                  <c:v>0.0954400099261946</c:v>
                </c:pt>
                <c:pt idx="5">
                  <c:v>0.04125013737428249</c:v>
                </c:pt>
                <c:pt idx="6">
                  <c:v>0.1994191602003694</c:v>
                </c:pt>
                <c:pt idx="7">
                  <c:v>0.325267885482307</c:v>
                </c:pt>
                <c:pt idx="8">
                  <c:v>0.09823377550427922</c:v>
                </c:pt>
                <c:pt idx="9">
                  <c:v>0.11967348660579877</c:v>
                </c:pt>
                <c:pt idx="10">
                  <c:v>0.04641859315961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3027397924249747</c:v>
                </c:pt>
                <c:pt idx="7">
                  <c:v>0.010885058477386517</c:v>
                </c:pt>
                <c:pt idx="10">
                  <c:v>0.0063411107516699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24</c:v>
                </c:pt>
                <c:pt idx="6">
                  <c:v>0.017951669769388317</c:v>
                </c:pt>
                <c:pt idx="7">
                  <c:v>0.019052357072915777</c:v>
                </c:pt>
                <c:pt idx="9">
                  <c:v>0.45200352226145757</c:v>
                </c:pt>
                <c:pt idx="10">
                  <c:v>0.03406943844743591</c:v>
                </c:pt>
                <c:pt idx="12">
                  <c:v>0.00745271472126842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938323508989468</c:v>
                </c:pt>
                <c:pt idx="10">
                  <c:v>0.00135586215456616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2">
                  <c:v>0.019618191826917</c:v>
                </c:pt>
                <c:pt idx="3">
                  <c:v>0.0007402755160323117</c:v>
                </c:pt>
                <c:pt idx="5">
                  <c:v>0.3297295060960824</c:v>
                </c:pt>
                <c:pt idx="8">
                  <c:v>0.6455594961322718</c:v>
                </c:pt>
                <c:pt idx="9">
                  <c:v>0.0036391468587563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2189429626420302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2">
                  <c:v>0.03611491103837361</c:v>
                </c:pt>
                <c:pt idx="3">
                  <c:v>0.13704769360926553</c:v>
                </c:pt>
                <c:pt idx="5">
                  <c:v>0.26434531785433935</c:v>
                </c:pt>
                <c:pt idx="6">
                  <c:v>0.0011162341815090673</c:v>
                </c:pt>
                <c:pt idx="7">
                  <c:v>0.003335910917712949</c:v>
                </c:pt>
                <c:pt idx="8">
                  <c:v>0.4005920055997593</c:v>
                </c:pt>
                <c:pt idx="9">
                  <c:v>0.14397146372186226</c:v>
                </c:pt>
                <c:pt idx="10">
                  <c:v>0.00086189692849985</c:v>
                </c:pt>
                <c:pt idx="11">
                  <c:v>0.0052192045553033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60152603360252395</c:v>
                </c:pt>
                <c:pt idx="7">
                  <c:v>0.014249279373871063</c:v>
                </c:pt>
                <c:pt idx="10">
                  <c:v>0.00713015223998902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9944007839767784</c:v>
                </c:pt>
                <c:pt idx="6">
                  <c:v>0.016155373871998238</c:v>
                </c:pt>
                <c:pt idx="7">
                  <c:v>0.031881979303787146</c:v>
                </c:pt>
                <c:pt idx="9">
                  <c:v>0.0012662711277150168</c:v>
                </c:pt>
                <c:pt idx="10">
                  <c:v>0.45125440925969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11085873447412328</c:v>
                </c:pt>
                <c:pt idx="10">
                  <c:v>0.001266271127715016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2">
                  <c:v>0.04854904242544989</c:v>
                </c:pt>
                <c:pt idx="3">
                  <c:v>0.00824377547534882</c:v>
                </c:pt>
                <c:pt idx="4">
                  <c:v>0.0022353924353407596</c:v>
                </c:pt>
                <c:pt idx="5">
                  <c:v>0.4711012652102141</c:v>
                </c:pt>
                <c:pt idx="8">
                  <c:v>0.45221803035632874</c:v>
                </c:pt>
                <c:pt idx="9">
                  <c:v>0.0157715880543236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200618752233934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094197216483182</c:v>
                </c:pt>
                <c:pt idx="2">
                  <c:v>0.0968802761147323</c:v>
                </c:pt>
                <c:pt idx="3">
                  <c:v>0.17693155055074417</c:v>
                </c:pt>
                <c:pt idx="4">
                  <c:v>0.05344601481903615</c:v>
                </c:pt>
                <c:pt idx="5">
                  <c:v>0.15056949109524098</c:v>
                </c:pt>
                <c:pt idx="6">
                  <c:v>0.002210434101337093</c:v>
                </c:pt>
                <c:pt idx="7">
                  <c:v>0.042047893689315</c:v>
                </c:pt>
                <c:pt idx="8">
                  <c:v>0.2935251820376533</c:v>
                </c:pt>
                <c:pt idx="9">
                  <c:v>0.16639940016881108</c:v>
                </c:pt>
                <c:pt idx="10">
                  <c:v>0.0066934984756711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5233206825432513</c:v>
                </c:pt>
                <c:pt idx="6">
                  <c:v>0.024515348950153868</c:v>
                </c:pt>
                <c:pt idx="7">
                  <c:v>0.08517887685636501</c:v>
                </c:pt>
                <c:pt idx="9">
                  <c:v>0.039611925288855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30312546756316075</c:v>
                </c:pt>
                <c:pt idx="3">
                  <c:v>0.04113727865799536</c:v>
                </c:pt>
                <c:pt idx="5">
                  <c:v>0.26441736817554373</c:v>
                </c:pt>
                <c:pt idx="6">
                  <c:v>0.04913147371814897</c:v>
                </c:pt>
                <c:pt idx="7">
                  <c:v>0.4927040764791567</c:v>
                </c:pt>
                <c:pt idx="8">
                  <c:v>0.05950216245236105</c:v>
                </c:pt>
                <c:pt idx="9">
                  <c:v>0.058546804951692615</c:v>
                </c:pt>
                <c:pt idx="10">
                  <c:v>0.004231288484179993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4371210895374736</c:v>
                </c:pt>
                <c:pt idx="10">
                  <c:v>0.0043692749259969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051488450920449</c:v>
                </c:pt>
                <c:pt idx="1">
                  <c:v>0.0044352743456934855</c:v>
                </c:pt>
                <c:pt idx="2">
                  <c:v>0.0034694502563154175</c:v>
                </c:pt>
                <c:pt idx="3">
                  <c:v>0.05964964451220632</c:v>
                </c:pt>
                <c:pt idx="4">
                  <c:v>0.039085132320912236</c:v>
                </c:pt>
                <c:pt idx="5">
                  <c:v>0.08669511652110025</c:v>
                </c:pt>
                <c:pt idx="6">
                  <c:v>0.027360055985208086</c:v>
                </c:pt>
                <c:pt idx="7">
                  <c:v>0.2418053446769941</c:v>
                </c:pt>
                <c:pt idx="8">
                  <c:v>0.1414870432444424</c:v>
                </c:pt>
                <c:pt idx="9">
                  <c:v>0.1486028344153981</c:v>
                </c:pt>
                <c:pt idx="10">
                  <c:v>0.244358615270809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5157577861394508</c:v>
                </c:pt>
                <c:pt idx="1">
                  <c:v>0.04033829080762985</c:v>
                </c:pt>
                <c:pt idx="2">
                  <c:v>0.027317055035750843</c:v>
                </c:pt>
                <c:pt idx="3">
                  <c:v>0.045773405333712824</c:v>
                </c:pt>
                <c:pt idx="4">
                  <c:v>0.16969832877932148</c:v>
                </c:pt>
                <c:pt idx="5">
                  <c:v>0.3988804476401114</c:v>
                </c:pt>
                <c:pt idx="6">
                  <c:v>0.08545356399564547</c:v>
                </c:pt>
                <c:pt idx="7">
                  <c:v>0.16633249927719454</c:v>
                </c:pt>
                <c:pt idx="8">
                  <c:v>0.040550623547376534</c:v>
                </c:pt>
                <c:pt idx="9">
                  <c:v>0.009736111911352483</c:v>
                </c:pt>
                <c:pt idx="10">
                  <c:v>0.000762095810510084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794904042781517</c:v>
                </c:pt>
                <c:pt idx="3">
                  <c:v>0.012097336922149603</c:v>
                </c:pt>
                <c:pt idx="4">
                  <c:v>0.05325080068153566</c:v>
                </c:pt>
                <c:pt idx="5">
                  <c:v>0.04961780294912743</c:v>
                </c:pt>
                <c:pt idx="6">
                  <c:v>0.1331749405684239</c:v>
                </c:pt>
                <c:pt idx="7">
                  <c:v>0.45066032068205897</c:v>
                </c:pt>
                <c:pt idx="8">
                  <c:v>0.13758282380576167</c:v>
                </c:pt>
                <c:pt idx="9">
                  <c:v>0.11445756851909025</c:v>
                </c:pt>
                <c:pt idx="10">
                  <c:v>0.04318103560585723</c:v>
                </c:pt>
                <c:pt idx="11">
                  <c:v>0.0039161467489326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1365210675183357</c:v>
                </c:pt>
                <c:pt idx="3">
                  <c:v>0.004847304840244018</c:v>
                </c:pt>
                <c:pt idx="5">
                  <c:v>0.03061400700725753</c:v>
                </c:pt>
                <c:pt idx="7">
                  <c:v>0.18532018079823825</c:v>
                </c:pt>
                <c:pt idx="8">
                  <c:v>0.7048968166011528</c:v>
                </c:pt>
                <c:pt idx="9">
                  <c:v>0.006078194301694659</c:v>
                </c:pt>
                <c:pt idx="10">
                  <c:v>0.0667377569985208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517962603237375</c:v>
                </c:pt>
                <c:pt idx="1">
                  <c:v>0.15609582739574643</c:v>
                </c:pt>
                <c:pt idx="4">
                  <c:v>0.024981692301340005</c:v>
                </c:pt>
                <c:pt idx="6">
                  <c:v>0.33239380805694496</c:v>
                </c:pt>
                <c:pt idx="7">
                  <c:v>0.4415277913819587</c:v>
                </c:pt>
                <c:pt idx="10">
                  <c:v>0.01542109814398873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23476306319308922</c:v>
                </c:pt>
                <c:pt idx="2">
                  <c:v>0.14696565929531613</c:v>
                </c:pt>
                <c:pt idx="3">
                  <c:v>0.1841801727141622</c:v>
                </c:pt>
                <c:pt idx="4">
                  <c:v>0.03295751999351379</c:v>
                </c:pt>
                <c:pt idx="5">
                  <c:v>0.12209728666031888</c:v>
                </c:pt>
                <c:pt idx="6">
                  <c:v>0.005576979112388611</c:v>
                </c:pt>
                <c:pt idx="7">
                  <c:v>0.026064665698349303</c:v>
                </c:pt>
                <c:pt idx="8">
                  <c:v>0.2403426952584956</c:v>
                </c:pt>
                <c:pt idx="9">
                  <c:v>0.2046536927407278</c:v>
                </c:pt>
                <c:pt idx="10">
                  <c:v>0.0130021541978504</c:v>
                </c:pt>
                <c:pt idx="11">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787004175139863</c:v>
                </c:pt>
                <c:pt idx="5">
                  <c:v>0.01932140439824797</c:v>
                </c:pt>
                <c:pt idx="8">
                  <c:v>0.07178276387539519</c:v>
                </c:pt>
                <c:pt idx="9">
                  <c:v>0.0528471806365719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4086666246411881</c:v>
                </c:pt>
                <c:pt idx="4">
                  <c:v>0.045633021875691224</c:v>
                </c:pt>
                <c:pt idx="5">
                  <c:v>0.038701355527194066</c:v>
                </c:pt>
                <c:pt idx="6">
                  <c:v>0.22192560355519467</c:v>
                </c:pt>
                <c:pt idx="7">
                  <c:v>0.5440583665095596</c:v>
                </c:pt>
                <c:pt idx="8">
                  <c:v>0.049817374574832686</c:v>
                </c:pt>
                <c:pt idx="9">
                  <c:v>0.058703985172481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7720050625362799</c:v>
                </c:pt>
                <c:pt idx="10">
                  <c:v>0.00642540378525063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62354420050404</c:v>
                </c:pt>
                <c:pt idx="1">
                  <c:v>0.0011454750131276404</c:v>
                </c:pt>
                <c:pt idx="2">
                  <c:v>0.0007422004184018338</c:v>
                </c:pt>
                <c:pt idx="3">
                  <c:v>0.05289528552810144</c:v>
                </c:pt>
                <c:pt idx="4">
                  <c:v>0.03934580365903395</c:v>
                </c:pt>
                <c:pt idx="5">
                  <c:v>0.09188956429841137</c:v>
                </c:pt>
                <c:pt idx="6">
                  <c:v>0.022778357111808513</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236538655618517</c:v>
                </c:pt>
                <c:pt idx="1">
                  <c:v>0.02588109029103231</c:v>
                </c:pt>
                <c:pt idx="2">
                  <c:v>0.02017391439462202</c:v>
                </c:pt>
                <c:pt idx="3">
                  <c:v>0.03938341960631563</c:v>
                </c:pt>
                <c:pt idx="4">
                  <c:v>0.157170553006386</c:v>
                </c:pt>
                <c:pt idx="5">
                  <c:v>0.08831801777315262</c:v>
                </c:pt>
                <c:pt idx="6">
                  <c:v>0.41071261682106197</c:v>
                </c:pt>
                <c:pt idx="7">
                  <c:v>0.04439602172569835</c:v>
                </c:pt>
                <c:pt idx="8">
                  <c:v>0.18771142446126557</c:v>
                </c:pt>
                <c:pt idx="9">
                  <c:v>0.013883665734837373</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9200574149634607</c:v>
                </c:pt>
                <c:pt idx="3">
                  <c:v>0.06168166962625188</c:v>
                </c:pt>
                <c:pt idx="4">
                  <c:v>0.027371261184344724</c:v>
                </c:pt>
                <c:pt idx="5">
                  <c:v>0.11202142177201879</c:v>
                </c:pt>
                <c:pt idx="6">
                  <c:v>0.0341174341265634</c:v>
                </c:pt>
                <c:pt idx="7">
                  <c:v>0.12558123125571202</c:v>
                </c:pt>
                <c:pt idx="8">
                  <c:v>0.44086480824993957</c:v>
                </c:pt>
                <c:pt idx="9">
                  <c:v>0.0643504981996082</c:v>
                </c:pt>
                <c:pt idx="10">
                  <c:v>0.13114877323465615</c:v>
                </c:pt>
                <c:pt idx="12">
                  <c:v>0.0005045559208205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5</c:v>
                </c:pt>
                <c:pt idx="2">
                  <c:v>0.08802611116681852</c:v>
                </c:pt>
                <c:pt idx="3">
                  <c:v>0.14262715024337333</c:v>
                </c:pt>
                <c:pt idx="5">
                  <c:v>0.22104468597369087</c:v>
                </c:pt>
                <c:pt idx="6">
                  <c:v>0.0009693855530901747</c:v>
                </c:pt>
                <c:pt idx="7">
                  <c:v>0.001866192861775446</c:v>
                </c:pt>
                <c:pt idx="8">
                  <c:v>0.36373832536069917</c:v>
                </c:pt>
                <c:pt idx="9">
                  <c:v>0.1479064666886797</c:v>
                </c:pt>
                <c:pt idx="11">
                  <c:v>0.00387651623085406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6976686502865877</c:v>
                </c:pt>
                <c:pt idx="1">
                  <c:v>0.0014491880932194251</c:v>
                </c:pt>
                <c:pt idx="3">
                  <c:v>0.004457696094131803</c:v>
                </c:pt>
                <c:pt idx="5">
                  <c:v>0.030277145264557645</c:v>
                </c:pt>
                <c:pt idx="7">
                  <c:v>0.13449200745841194</c:v>
                </c:pt>
                <c:pt idx="8">
                  <c:v>0.7039034996881784</c:v>
                </c:pt>
                <c:pt idx="9">
                  <c:v>0.010069558173919621</c:v>
                </c:pt>
                <c:pt idx="10">
                  <c:v>0.114653236577294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6295936018988206</c:v>
                </c:pt>
                <c:pt idx="1">
                  <c:v>0.15937207117371918</c:v>
                </c:pt>
                <c:pt idx="4">
                  <c:v>0.03768448825783814</c:v>
                </c:pt>
                <c:pt idx="6">
                  <c:v>0.26112921429863634</c:v>
                </c:pt>
                <c:pt idx="7">
                  <c:v>0.46450291190561643</c:v>
                </c:pt>
                <c:pt idx="10">
                  <c:v>0.014351256781768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9902539055901118</c:v>
                </c:pt>
                <c:pt idx="3">
                  <c:v>0.19501182742892956</c:v>
                </c:pt>
                <c:pt idx="5">
                  <c:v>0.19221661010637114</c:v>
                </c:pt>
                <c:pt idx="7">
                  <c:v>0.0044553653201097635</c:v>
                </c:pt>
                <c:pt idx="8">
                  <c:v>0.32620737314256526</c:v>
                </c:pt>
                <c:pt idx="9">
                  <c:v>0.1816346006355548</c:v>
                </c:pt>
                <c:pt idx="10">
                  <c:v>0.0010718808459023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526041463350669</c:v>
                </c:pt>
                <c:pt idx="5">
                  <c:v>0.033856581368870375</c:v>
                </c:pt>
                <c:pt idx="8">
                  <c:v>0.08502524402054405</c:v>
                </c:pt>
                <c:pt idx="9">
                  <c:v>0.043739947302331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4730354873988525</c:v>
                </c:pt>
                <c:pt idx="3">
                  <c:v>0.06817263886703966</c:v>
                </c:pt>
                <c:pt idx="5">
                  <c:v>0.309143132658508</c:v>
                </c:pt>
                <c:pt idx="8">
                  <c:v>0.5486047571183258</c:v>
                </c:pt>
                <c:pt idx="9">
                  <c:v>0.058719016741289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8474788056236087</c:v>
                </c:pt>
                <c:pt idx="5">
                  <c:v>0.0018326672818652619</c:v>
                </c:pt>
                <c:pt idx="8">
                  <c:v>0.004807688235903353</c:v>
                </c:pt>
                <c:pt idx="9">
                  <c:v>0.00273279268863637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30402933460139136</c:v>
                </c:pt>
                <c:pt idx="10">
                  <c:v>0.00540874552717645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0588329459832054</c:v>
                </c:pt>
                <c:pt idx="1">
                  <c:v>0.0007825140203652709</c:v>
                </c:pt>
                <c:pt idx="4">
                  <c:v>0.08901043428318599</c:v>
                </c:pt>
                <c:pt idx="6">
                  <c:v>0.11588715556988459</c:v>
                </c:pt>
                <c:pt idx="7">
                  <c:v>0.38683540238311287</c:v>
                </c:pt>
                <c:pt idx="8">
                  <c:v>0.008171563093686076</c:v>
                </c:pt>
                <c:pt idx="9">
                  <c:v>0.3944030874675362</c:v>
                </c:pt>
                <c:pt idx="10">
                  <c:v>0.003171066126869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5205229389434692</c:v>
                </c:pt>
                <c:pt idx="1">
                  <c:v>0.07085400516439393</c:v>
                </c:pt>
                <c:pt idx="4">
                  <c:v>0.22945432953046957</c:v>
                </c:pt>
                <c:pt idx="5">
                  <c:v>0.00381488822241231</c:v>
                </c:pt>
                <c:pt idx="6">
                  <c:v>0.45957844987696017</c:v>
                </c:pt>
                <c:pt idx="7">
                  <c:v>0.19641326098319853</c:v>
                </c:pt>
                <c:pt idx="10">
                  <c:v>0.01467023590153841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284521370912834</c:v>
                </c:pt>
                <c:pt idx="4">
                  <c:v>0.09721766815684785</c:v>
                </c:pt>
                <c:pt idx="6">
                  <c:v>0.1911152194331892</c:v>
                </c:pt>
                <c:pt idx="7">
                  <c:v>0.5673684906226534</c:v>
                </c:pt>
                <c:pt idx="8">
                  <c:v>0.0034411113190741596</c:v>
                </c:pt>
                <c:pt idx="10">
                  <c:v>0.10745682504514192</c:v>
                </c:pt>
                <c:pt idx="11">
                  <c:v>0.03002206063263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43253304601556915</c:v>
                </c:pt>
                <c:pt idx="8">
                  <c:v>0.862817425129608</c:v>
                </c:pt>
                <c:pt idx="9">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240477465735825</c:v>
                </c:pt>
                <c:pt idx="2">
                  <c:v>0.13191205784668772</c:v>
                </c:pt>
                <c:pt idx="3">
                  <c:v>0.01954729740219114</c:v>
                </c:pt>
                <c:pt idx="5">
                  <c:v>0.39049046490337336</c:v>
                </c:pt>
                <c:pt idx="8">
                  <c:v>0.44042776777347037</c:v>
                </c:pt>
                <c:pt idx="9">
                  <c:v>0.015660373016532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094197216483182</c:v>
                </c:pt>
                <c:pt idx="2">
                  <c:v>0.0968802761147323</c:v>
                </c:pt>
                <c:pt idx="3">
                  <c:v>0.17693155055074417</c:v>
                </c:pt>
                <c:pt idx="4">
                  <c:v>0.05344601481903615</c:v>
                </c:pt>
                <c:pt idx="5">
                  <c:v>0.15056949109524098</c:v>
                </c:pt>
                <c:pt idx="6">
                  <c:v>0.002210434101337093</c:v>
                </c:pt>
                <c:pt idx="7">
                  <c:v>0.042047893689315</c:v>
                </c:pt>
                <c:pt idx="8">
                  <c:v>0.2935251820376533</c:v>
                </c:pt>
                <c:pt idx="9">
                  <c:v>0.16639940016881108</c:v>
                </c:pt>
                <c:pt idx="10">
                  <c:v>0.0066934984756711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9318942391174119</c:v>
                </c:pt>
                <c:pt idx="3">
                  <c:v>0.055137933884248834</c:v>
                </c:pt>
                <c:pt idx="5">
                  <c:v>0.034736632971327265</c:v>
                </c:pt>
                <c:pt idx="8">
                  <c:v>0.06767013652507513</c:v>
                </c:pt>
                <c:pt idx="9">
                  <c:v>0.013478190548323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30312546756316075</c:v>
                </c:pt>
                <c:pt idx="3">
                  <c:v>0.04113727865799536</c:v>
                </c:pt>
                <c:pt idx="5">
                  <c:v>0.26441736817554373</c:v>
                </c:pt>
                <c:pt idx="6">
                  <c:v>0.04913147371814897</c:v>
                </c:pt>
                <c:pt idx="7">
                  <c:v>0.4927040764791567</c:v>
                </c:pt>
                <c:pt idx="8">
                  <c:v>0.05950216245236105</c:v>
                </c:pt>
                <c:pt idx="9">
                  <c:v>0.058546804951692615</c:v>
                </c:pt>
                <c:pt idx="10">
                  <c:v>0.004231288484179993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051488450920449</c:v>
                </c:pt>
                <c:pt idx="1">
                  <c:v>0.0044352743456934855</c:v>
                </c:pt>
                <c:pt idx="2">
                  <c:v>0.0034694502563154175</c:v>
                </c:pt>
                <c:pt idx="3">
                  <c:v>0.05964964451220632</c:v>
                </c:pt>
                <c:pt idx="4">
                  <c:v>0.039085132320912236</c:v>
                </c:pt>
                <c:pt idx="5">
                  <c:v>0.08669511652110025</c:v>
                </c:pt>
                <c:pt idx="6">
                  <c:v>0.027360055985208086</c:v>
                </c:pt>
                <c:pt idx="7">
                  <c:v>0.2418053446769941</c:v>
                </c:pt>
                <c:pt idx="8">
                  <c:v>0.1414870432444424</c:v>
                </c:pt>
                <c:pt idx="9">
                  <c:v>0.1486028344153981</c:v>
                </c:pt>
                <c:pt idx="10">
                  <c:v>0.244358615270809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5157577861394508</c:v>
                </c:pt>
                <c:pt idx="1">
                  <c:v>0.04033829080762985</c:v>
                </c:pt>
                <c:pt idx="2">
                  <c:v>0.027317055035750843</c:v>
                </c:pt>
                <c:pt idx="3">
                  <c:v>0.045773405333712824</c:v>
                </c:pt>
                <c:pt idx="4">
                  <c:v>0.16969832877932148</c:v>
                </c:pt>
                <c:pt idx="5">
                  <c:v>0.3988804476401114</c:v>
                </c:pt>
                <c:pt idx="6">
                  <c:v>0.08545356399564547</c:v>
                </c:pt>
                <c:pt idx="7">
                  <c:v>0.16633249927719454</c:v>
                </c:pt>
                <c:pt idx="8">
                  <c:v>0.040550623547376534</c:v>
                </c:pt>
                <c:pt idx="9">
                  <c:v>0.009736111911352483</c:v>
                </c:pt>
                <c:pt idx="10">
                  <c:v>0.000762095810510084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36451473003585645</c:v>
                </c:pt>
                <c:pt idx="6">
                  <c:v>0.0017075965277870697</c:v>
                </c:pt>
                <c:pt idx="7">
                  <c:v>0.0063088928781969604</c:v>
                </c:pt>
                <c:pt idx="9">
                  <c:v>0.00313479778224108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794904042781517</c:v>
                </c:pt>
                <c:pt idx="3">
                  <c:v>0.012097336922149603</c:v>
                </c:pt>
                <c:pt idx="4">
                  <c:v>0.05325080068153566</c:v>
                </c:pt>
                <c:pt idx="5">
                  <c:v>0.04961780294912743</c:v>
                </c:pt>
                <c:pt idx="6">
                  <c:v>0.1331749405684239</c:v>
                </c:pt>
                <c:pt idx="7">
                  <c:v>0.45066032068205897</c:v>
                </c:pt>
                <c:pt idx="8">
                  <c:v>0.13758282380576167</c:v>
                </c:pt>
                <c:pt idx="9">
                  <c:v>0.11445756851909025</c:v>
                </c:pt>
                <c:pt idx="10">
                  <c:v>0.04318103560585723</c:v>
                </c:pt>
                <c:pt idx="11">
                  <c:v>0.0039161467489326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1365210675183357</c:v>
                </c:pt>
                <c:pt idx="3">
                  <c:v>0.004847304840244018</c:v>
                </c:pt>
                <c:pt idx="5">
                  <c:v>0.03061400700725753</c:v>
                </c:pt>
                <c:pt idx="7">
                  <c:v>0.18532018079823825</c:v>
                </c:pt>
                <c:pt idx="8">
                  <c:v>0.7048968166011528</c:v>
                </c:pt>
                <c:pt idx="9">
                  <c:v>0.006078194301694659</c:v>
                </c:pt>
                <c:pt idx="10">
                  <c:v>0.0667377569985208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517962603237375</c:v>
                </c:pt>
                <c:pt idx="1">
                  <c:v>0.15609582739574643</c:v>
                </c:pt>
                <c:pt idx="4">
                  <c:v>0.024981692301340005</c:v>
                </c:pt>
                <c:pt idx="6">
                  <c:v>0.33239380805694496</c:v>
                </c:pt>
                <c:pt idx="7">
                  <c:v>0.4415277913819587</c:v>
                </c:pt>
                <c:pt idx="10">
                  <c:v>0.01542109814398873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23476306319308922</c:v>
                </c:pt>
                <c:pt idx="2">
                  <c:v>0.14696565929531613</c:v>
                </c:pt>
                <c:pt idx="3">
                  <c:v>0.1841801727141622</c:v>
                </c:pt>
                <c:pt idx="4">
                  <c:v>0.03295751999351379</c:v>
                </c:pt>
                <c:pt idx="5">
                  <c:v>0.12209728666031888</c:v>
                </c:pt>
                <c:pt idx="6">
                  <c:v>0.005576979112388611</c:v>
                </c:pt>
                <c:pt idx="7">
                  <c:v>0.026064665698349303</c:v>
                </c:pt>
                <c:pt idx="8">
                  <c:v>0.2403426952584956</c:v>
                </c:pt>
                <c:pt idx="9">
                  <c:v>0.2046536927407278</c:v>
                </c:pt>
                <c:pt idx="10">
                  <c:v>0.0130021541978504</c:v>
                </c:pt>
                <c:pt idx="11">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13883172631490734</c:v>
                </c:pt>
                <c:pt idx="3">
                  <c:v>0.0685733513406976</c:v>
                </c:pt>
                <c:pt idx="5">
                  <c:v>0.008519953373459404</c:v>
                </c:pt>
                <c:pt idx="8">
                  <c:v>0.08527918524100789</c:v>
                </c:pt>
                <c:pt idx="9">
                  <c:v>0.018039325530002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4086666246411881</c:v>
                </c:pt>
                <c:pt idx="4">
                  <c:v>0.045633021875691224</c:v>
                </c:pt>
                <c:pt idx="5">
                  <c:v>0.038701355527194066</c:v>
                </c:pt>
                <c:pt idx="6">
                  <c:v>0.22192560355519467</c:v>
                </c:pt>
                <c:pt idx="7">
                  <c:v>0.5440583665095596</c:v>
                </c:pt>
                <c:pt idx="8">
                  <c:v>0.049817374574832686</c:v>
                </c:pt>
                <c:pt idx="9">
                  <c:v>0.058703985172481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62354420050404</c:v>
                </c:pt>
                <c:pt idx="1">
                  <c:v>0.0011454750131276404</c:v>
                </c:pt>
                <c:pt idx="2">
                  <c:v>0.0007422004184018338</c:v>
                </c:pt>
                <c:pt idx="3">
                  <c:v>0.05289528552810144</c:v>
                </c:pt>
                <c:pt idx="4">
                  <c:v>0.03934580365903395</c:v>
                </c:pt>
                <c:pt idx="5">
                  <c:v>0.09188956429841137</c:v>
                </c:pt>
                <c:pt idx="6">
                  <c:v>0.022778357111808513</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236538655618517</c:v>
                </c:pt>
                <c:pt idx="1">
                  <c:v>0.02588109029103231</c:v>
                </c:pt>
                <c:pt idx="2">
                  <c:v>0.02017391439462202</c:v>
                </c:pt>
                <c:pt idx="3">
                  <c:v>0.03938341960631563</c:v>
                </c:pt>
                <c:pt idx="4">
                  <c:v>0.157170553006386</c:v>
                </c:pt>
                <c:pt idx="5">
                  <c:v>0.08831801777315262</c:v>
                </c:pt>
                <c:pt idx="6">
                  <c:v>0.41071261682106197</c:v>
                </c:pt>
                <c:pt idx="7">
                  <c:v>0.04439602172569835</c:v>
                </c:pt>
                <c:pt idx="8">
                  <c:v>0.18771142446126557</c:v>
                </c:pt>
                <c:pt idx="9">
                  <c:v>0.013883665734837373</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9200574149634607</c:v>
                </c:pt>
                <c:pt idx="3">
                  <c:v>0.06168166962625188</c:v>
                </c:pt>
                <c:pt idx="4">
                  <c:v>0.027371261184344724</c:v>
                </c:pt>
                <c:pt idx="5">
                  <c:v>0.11202142177201879</c:v>
                </c:pt>
                <c:pt idx="6">
                  <c:v>0.0341174341265634</c:v>
                </c:pt>
                <c:pt idx="7">
                  <c:v>0.12558123125571202</c:v>
                </c:pt>
                <c:pt idx="8">
                  <c:v>0.44086480824993957</c:v>
                </c:pt>
                <c:pt idx="9">
                  <c:v>0.0643504981996082</c:v>
                </c:pt>
                <c:pt idx="10">
                  <c:v>0.13114877323465615</c:v>
                </c:pt>
                <c:pt idx="12">
                  <c:v>0.0005045559208205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6976686502865877</c:v>
                </c:pt>
                <c:pt idx="1">
                  <c:v>0.0014491880932194251</c:v>
                </c:pt>
                <c:pt idx="3">
                  <c:v>0.004457696094131803</c:v>
                </c:pt>
                <c:pt idx="5">
                  <c:v>0.030277145264557645</c:v>
                </c:pt>
                <c:pt idx="7">
                  <c:v>0.13449200745841194</c:v>
                </c:pt>
                <c:pt idx="8">
                  <c:v>0.7039034996881784</c:v>
                </c:pt>
                <c:pt idx="9">
                  <c:v>0.010069558173919621</c:v>
                </c:pt>
                <c:pt idx="10">
                  <c:v>0.114653236577294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6295936018988206</c:v>
                </c:pt>
                <c:pt idx="1">
                  <c:v>0.15937207117371918</c:v>
                </c:pt>
                <c:pt idx="4">
                  <c:v>0.03768448825783814</c:v>
                </c:pt>
                <c:pt idx="6">
                  <c:v>0.26112921429863634</c:v>
                </c:pt>
                <c:pt idx="7">
                  <c:v>0.46450291190561643</c:v>
                </c:pt>
                <c:pt idx="10">
                  <c:v>0.014351256781768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9902539055901118</c:v>
                </c:pt>
                <c:pt idx="3">
                  <c:v>0.19501182742892956</c:v>
                </c:pt>
                <c:pt idx="5">
                  <c:v>0.19221661010637114</c:v>
                </c:pt>
                <c:pt idx="7">
                  <c:v>0.0044553653201097635</c:v>
                </c:pt>
                <c:pt idx="8">
                  <c:v>0.32620737314256526</c:v>
                </c:pt>
                <c:pt idx="9">
                  <c:v>0.1816346006355548</c:v>
                </c:pt>
                <c:pt idx="10">
                  <c:v>0.0010718808459023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9902539055901118</c:v>
                </c:pt>
                <c:pt idx="3">
                  <c:v>0.06450832288352</c:v>
                </c:pt>
                <c:pt idx="5">
                  <c:v>0.0277842525331899</c:v>
                </c:pt>
                <c:pt idx="8">
                  <c:v>0.09874369385147747</c:v>
                </c:pt>
                <c:pt idx="9">
                  <c:v>0.0060214131500869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4730354873988525</c:v>
                </c:pt>
                <c:pt idx="3">
                  <c:v>0.06817263886703966</c:v>
                </c:pt>
                <c:pt idx="5">
                  <c:v>0.309143132658508</c:v>
                </c:pt>
                <c:pt idx="8">
                  <c:v>0.5486047571183258</c:v>
                </c:pt>
                <c:pt idx="9">
                  <c:v>0.058719016741289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0588329459832054</c:v>
                </c:pt>
                <c:pt idx="1">
                  <c:v>0.0007825140203652709</c:v>
                </c:pt>
                <c:pt idx="4">
                  <c:v>0.08901043428318599</c:v>
                </c:pt>
                <c:pt idx="6">
                  <c:v>0.11588715556988459</c:v>
                </c:pt>
                <c:pt idx="7">
                  <c:v>0.38683540238311287</c:v>
                </c:pt>
                <c:pt idx="8">
                  <c:v>0.008171563093686076</c:v>
                </c:pt>
                <c:pt idx="9">
                  <c:v>0.3944030874675362</c:v>
                </c:pt>
                <c:pt idx="10">
                  <c:v>0.003171066126869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5205229389434692</c:v>
                </c:pt>
                <c:pt idx="1">
                  <c:v>0.07085400516439393</c:v>
                </c:pt>
                <c:pt idx="4">
                  <c:v>0.22945432953046957</c:v>
                </c:pt>
                <c:pt idx="5">
                  <c:v>0.00381488822241231</c:v>
                </c:pt>
                <c:pt idx="6">
                  <c:v>0.45957844987696017</c:v>
                </c:pt>
                <c:pt idx="7">
                  <c:v>0.19641326098319853</c:v>
                </c:pt>
                <c:pt idx="10">
                  <c:v>0.01467023590153841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284521370912834</c:v>
                </c:pt>
                <c:pt idx="4">
                  <c:v>0.09721766815684785</c:v>
                </c:pt>
                <c:pt idx="6">
                  <c:v>0.1911152194331892</c:v>
                </c:pt>
                <c:pt idx="7">
                  <c:v>0.5673684906226534</c:v>
                </c:pt>
                <c:pt idx="8">
                  <c:v>0.0034411113190741596</c:v>
                </c:pt>
                <c:pt idx="10">
                  <c:v>0.10745682504514192</c:v>
                </c:pt>
                <c:pt idx="11">
                  <c:v>0.03002206063263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43253304601556915</c:v>
                </c:pt>
                <c:pt idx="8">
                  <c:v>0.862817425129608</c:v>
                </c:pt>
                <c:pt idx="9">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240477465735825</c:v>
                </c:pt>
                <c:pt idx="2">
                  <c:v>0.13191205784668772</c:v>
                </c:pt>
                <c:pt idx="3">
                  <c:v>0.01954729740219114</c:v>
                </c:pt>
                <c:pt idx="5">
                  <c:v>0.39049046490337336</c:v>
                </c:pt>
                <c:pt idx="8">
                  <c:v>0.44042776777347037</c:v>
                </c:pt>
                <c:pt idx="9">
                  <c:v>0.015660373016532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094197216483182</c:v>
                </c:pt>
                <c:pt idx="2">
                  <c:v>0.0968802761147323</c:v>
                </c:pt>
                <c:pt idx="3">
                  <c:v>0.17693155055074417</c:v>
                </c:pt>
                <c:pt idx="4">
                  <c:v>0.05344601481903615</c:v>
                </c:pt>
                <c:pt idx="5">
                  <c:v>0.15056949109524098</c:v>
                </c:pt>
                <c:pt idx="6">
                  <c:v>0.002210434101337093</c:v>
                </c:pt>
                <c:pt idx="7">
                  <c:v>0.042047893689315</c:v>
                </c:pt>
                <c:pt idx="8">
                  <c:v>0.2935251820376533</c:v>
                </c:pt>
                <c:pt idx="9">
                  <c:v>0.16639940016881108</c:v>
                </c:pt>
                <c:pt idx="10">
                  <c:v>0.0066934984756711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30312546756316075</c:v>
                </c:pt>
                <c:pt idx="3">
                  <c:v>0.04113727865799536</c:v>
                </c:pt>
                <c:pt idx="5">
                  <c:v>0.26441736817554373</c:v>
                </c:pt>
                <c:pt idx="6">
                  <c:v>0.04913147371814897</c:v>
                </c:pt>
                <c:pt idx="7">
                  <c:v>0.4927040764791567</c:v>
                </c:pt>
                <c:pt idx="8">
                  <c:v>0.05950216245236105</c:v>
                </c:pt>
                <c:pt idx="9">
                  <c:v>0.058546804951692615</c:v>
                </c:pt>
                <c:pt idx="10">
                  <c:v>0.004231288484179993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20110324760778144</c:v>
                </c:pt>
                <c:pt idx="8">
                  <c:v>0.06841718773242574</c:v>
                </c:pt>
                <c:pt idx="9">
                  <c:v>0.0160409545315269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051488450920449</c:v>
                </c:pt>
                <c:pt idx="1">
                  <c:v>0.0044352743456934855</c:v>
                </c:pt>
                <c:pt idx="2">
                  <c:v>0.0034694502563154175</c:v>
                </c:pt>
                <c:pt idx="3">
                  <c:v>0.05964964451220632</c:v>
                </c:pt>
                <c:pt idx="4">
                  <c:v>0.039085132320912236</c:v>
                </c:pt>
                <c:pt idx="5">
                  <c:v>0.08669511652110025</c:v>
                </c:pt>
                <c:pt idx="6">
                  <c:v>0.027360055985208086</c:v>
                </c:pt>
                <c:pt idx="7">
                  <c:v>0.2418053446769941</c:v>
                </c:pt>
                <c:pt idx="8">
                  <c:v>0.1414870432444424</c:v>
                </c:pt>
                <c:pt idx="9">
                  <c:v>0.1486028344153981</c:v>
                </c:pt>
                <c:pt idx="10">
                  <c:v>0.244358615270809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109156697110208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5157577861394508</c:v>
                </c:pt>
                <c:pt idx="1">
                  <c:v>0.04033829080762985</c:v>
                </c:pt>
                <c:pt idx="2">
                  <c:v>0.027317055035750843</c:v>
                </c:pt>
                <c:pt idx="3">
                  <c:v>0.045773405333712824</c:v>
                </c:pt>
                <c:pt idx="4">
                  <c:v>0.16969832877932148</c:v>
                </c:pt>
                <c:pt idx="5">
                  <c:v>0.3988804476401114</c:v>
                </c:pt>
                <c:pt idx="6">
                  <c:v>0.08545356399564547</c:v>
                </c:pt>
                <c:pt idx="7">
                  <c:v>0.16633249927719454</c:v>
                </c:pt>
                <c:pt idx="8">
                  <c:v>0.040550623547376534</c:v>
                </c:pt>
                <c:pt idx="9">
                  <c:v>0.009736111911352483</c:v>
                </c:pt>
                <c:pt idx="10">
                  <c:v>0.000762095810510084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794904042781517</c:v>
                </c:pt>
                <c:pt idx="3">
                  <c:v>0.012097336922149603</c:v>
                </c:pt>
                <c:pt idx="4">
                  <c:v>0.05325080068153566</c:v>
                </c:pt>
                <c:pt idx="5">
                  <c:v>0.04961780294912743</c:v>
                </c:pt>
                <c:pt idx="6">
                  <c:v>0.1331749405684239</c:v>
                </c:pt>
                <c:pt idx="7">
                  <c:v>0.45066032068205897</c:v>
                </c:pt>
                <c:pt idx="8">
                  <c:v>0.13758282380576167</c:v>
                </c:pt>
                <c:pt idx="9">
                  <c:v>0.11445756851909025</c:v>
                </c:pt>
                <c:pt idx="10">
                  <c:v>0.04318103560585723</c:v>
                </c:pt>
                <c:pt idx="11">
                  <c:v>0.0039161467489326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25</c:v>
                </c:pt>
                <c:pt idx="1">
                  <c:v>0.005575455790256508</c:v>
                </c:pt>
                <c:pt idx="2">
                  <c:v>0.06814721198565897</c:v>
                </c:pt>
                <c:pt idx="3">
                  <c:v>0.11028045551334936</c:v>
                </c:pt>
                <c:pt idx="4">
                  <c:v>0.01738710146978373</c:v>
                </c:pt>
                <c:pt idx="5">
                  <c:v>0.20733639545642582</c:v>
                </c:pt>
                <c:pt idx="6">
                  <c:v>0.026923792213839906</c:v>
                </c:pt>
                <c:pt idx="7">
                  <c:v>0.05195735739691205</c:v>
                </c:pt>
                <c:pt idx="8">
                  <c:v>0.3308461997880531</c:v>
                </c:pt>
                <c:pt idx="9">
                  <c:v>0.12682383401021838</c:v>
                </c:pt>
                <c:pt idx="10">
                  <c:v>0.026739845540273522</c:v>
                </c:pt>
                <c:pt idx="11">
                  <c:v>0.0008054054550708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1365210675183357</c:v>
                </c:pt>
                <c:pt idx="3">
                  <c:v>0.004847304840244018</c:v>
                </c:pt>
                <c:pt idx="5">
                  <c:v>0.03061400700725753</c:v>
                </c:pt>
                <c:pt idx="7">
                  <c:v>0.18532018079823825</c:v>
                </c:pt>
                <c:pt idx="8">
                  <c:v>0.7048968166011528</c:v>
                </c:pt>
                <c:pt idx="9">
                  <c:v>0.006078194301694659</c:v>
                </c:pt>
                <c:pt idx="10">
                  <c:v>0.0667377569985208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517962603237375</c:v>
                </c:pt>
                <c:pt idx="1">
                  <c:v>0.15609582739574643</c:v>
                </c:pt>
                <c:pt idx="4">
                  <c:v>0.024981692301340005</c:v>
                </c:pt>
                <c:pt idx="6">
                  <c:v>0.33239380805694496</c:v>
                </c:pt>
                <c:pt idx="7">
                  <c:v>0.4415277913819587</c:v>
                </c:pt>
                <c:pt idx="10">
                  <c:v>0.01542109814398873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23476306319308922</c:v>
                </c:pt>
                <c:pt idx="2">
                  <c:v>0.14696565929531613</c:v>
                </c:pt>
                <c:pt idx="3">
                  <c:v>0.1841801727141622</c:v>
                </c:pt>
                <c:pt idx="4">
                  <c:v>0.03295751999351379</c:v>
                </c:pt>
                <c:pt idx="5">
                  <c:v>0.12209728666031888</c:v>
                </c:pt>
                <c:pt idx="6">
                  <c:v>0.005576979112388611</c:v>
                </c:pt>
                <c:pt idx="7">
                  <c:v>0.026064665698349303</c:v>
                </c:pt>
                <c:pt idx="8">
                  <c:v>0.2403426952584956</c:v>
                </c:pt>
                <c:pt idx="9">
                  <c:v>0.2046536927407278</c:v>
                </c:pt>
                <c:pt idx="10">
                  <c:v>0.0130021541978504</c:v>
                </c:pt>
                <c:pt idx="11">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4086666246411881</c:v>
                </c:pt>
                <c:pt idx="4">
                  <c:v>0.045633021875691224</c:v>
                </c:pt>
                <c:pt idx="5">
                  <c:v>0.038701355527194066</c:v>
                </c:pt>
                <c:pt idx="6">
                  <c:v>0.22192560355519467</c:v>
                </c:pt>
                <c:pt idx="7">
                  <c:v>0.5440583665095596</c:v>
                </c:pt>
                <c:pt idx="8">
                  <c:v>0.049817374574832686</c:v>
                </c:pt>
                <c:pt idx="9">
                  <c:v>0.058703985172481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649103290439469</c:v>
                </c:pt>
                <c:pt idx="3">
                  <c:v>0.0038405875699152707</c:v>
                </c:pt>
                <c:pt idx="5">
                  <c:v>0.0025128495530158694</c:v>
                </c:pt>
                <c:pt idx="8">
                  <c:v>0.005379331451585775</c:v>
                </c:pt>
                <c:pt idx="9">
                  <c:v>0.00093881231011503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20414795047385217</c:v>
                </c:pt>
                <c:pt idx="8">
                  <c:v>0.07340172764031956</c:v>
                </c:pt>
                <c:pt idx="9">
                  <c:v>0.01527106411326292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62354420050404</c:v>
                </c:pt>
                <c:pt idx="1">
                  <c:v>0.0011454750131276404</c:v>
                </c:pt>
                <c:pt idx="2">
                  <c:v>0.0007422004184018338</c:v>
                </c:pt>
                <c:pt idx="3">
                  <c:v>0.05289528552810144</c:v>
                </c:pt>
                <c:pt idx="4">
                  <c:v>0.03934580365903395</c:v>
                </c:pt>
                <c:pt idx="5">
                  <c:v>0.09188956429841137</c:v>
                </c:pt>
                <c:pt idx="6">
                  <c:v>0.022778357111808513</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1607670486383379</c:v>
                </c:pt>
                <c:pt idx="10">
                  <c:v>0.000628814058629370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236538655618517</c:v>
                </c:pt>
                <c:pt idx="1">
                  <c:v>0.02588109029103231</c:v>
                </c:pt>
                <c:pt idx="2">
                  <c:v>0.02017391439462202</c:v>
                </c:pt>
                <c:pt idx="3">
                  <c:v>0.03938341960631563</c:v>
                </c:pt>
                <c:pt idx="4">
                  <c:v>0.157170553006386</c:v>
                </c:pt>
                <c:pt idx="5">
                  <c:v>0.08831801777315262</c:v>
                </c:pt>
                <c:pt idx="6">
                  <c:v>0.41071261682106197</c:v>
                </c:pt>
                <c:pt idx="7">
                  <c:v>0.04439602172569835</c:v>
                </c:pt>
                <c:pt idx="8">
                  <c:v>0.18771142446126557</c:v>
                </c:pt>
                <c:pt idx="9">
                  <c:v>0.013883665734837373</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9200574149634607</c:v>
                </c:pt>
                <c:pt idx="3">
                  <c:v>0.06168166962625188</c:v>
                </c:pt>
                <c:pt idx="4">
                  <c:v>0.027371261184344724</c:v>
                </c:pt>
                <c:pt idx="5">
                  <c:v>0.11202142177201879</c:v>
                </c:pt>
                <c:pt idx="6">
                  <c:v>0.0341174341265634</c:v>
                </c:pt>
                <c:pt idx="7">
                  <c:v>0.12558123125571202</c:v>
                </c:pt>
                <c:pt idx="8">
                  <c:v>0.44086480824993957</c:v>
                </c:pt>
                <c:pt idx="9">
                  <c:v>0.0643504981996082</c:v>
                </c:pt>
                <c:pt idx="10">
                  <c:v>0.13114877323465615</c:v>
                </c:pt>
                <c:pt idx="12">
                  <c:v>0.0005045559208205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6976686502865877</c:v>
                </c:pt>
                <c:pt idx="1">
                  <c:v>0.0014491880932194251</c:v>
                </c:pt>
                <c:pt idx="3">
                  <c:v>0.004457696094131803</c:v>
                </c:pt>
                <c:pt idx="5">
                  <c:v>0.030277145264557645</c:v>
                </c:pt>
                <c:pt idx="7">
                  <c:v>0.13449200745841194</c:v>
                </c:pt>
                <c:pt idx="8">
                  <c:v>0.7039034996881784</c:v>
                </c:pt>
                <c:pt idx="9">
                  <c:v>0.010069558173919621</c:v>
                </c:pt>
                <c:pt idx="10">
                  <c:v>0.114653236577294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6295936018988206</c:v>
                </c:pt>
                <c:pt idx="1">
                  <c:v>0.15937207117371918</c:v>
                </c:pt>
                <c:pt idx="4">
                  <c:v>0.03768448825783814</c:v>
                </c:pt>
                <c:pt idx="6">
                  <c:v>0.26112921429863634</c:v>
                </c:pt>
                <c:pt idx="7">
                  <c:v>0.46450291190561643</c:v>
                </c:pt>
                <c:pt idx="10">
                  <c:v>0.014351256781768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9902539055901118</c:v>
                </c:pt>
                <c:pt idx="3">
                  <c:v>0.19501182742892956</c:v>
                </c:pt>
                <c:pt idx="5">
                  <c:v>0.19221661010637114</c:v>
                </c:pt>
                <c:pt idx="7">
                  <c:v>0.0044553653201097635</c:v>
                </c:pt>
                <c:pt idx="8">
                  <c:v>0.32620737314256526</c:v>
                </c:pt>
                <c:pt idx="9">
                  <c:v>0.1816346006355548</c:v>
                </c:pt>
                <c:pt idx="10">
                  <c:v>0.00107188084590235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4730354873988525</c:v>
                </c:pt>
                <c:pt idx="3">
                  <c:v>0.06817263886703966</c:v>
                </c:pt>
                <c:pt idx="5">
                  <c:v>0.309143132658508</c:v>
                </c:pt>
                <c:pt idx="8">
                  <c:v>0.5486047571183258</c:v>
                </c:pt>
                <c:pt idx="9">
                  <c:v>0.058719016741289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36411951396942636</c:v>
                </c:pt>
                <c:pt idx="8">
                  <c:v>0.08625463222190179</c:v>
                </c:pt>
                <c:pt idx="9">
                  <c:v>0.02476004233039275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0588329459832054</c:v>
                </c:pt>
                <c:pt idx="1">
                  <c:v>0.0007825140203652709</c:v>
                </c:pt>
                <c:pt idx="4">
                  <c:v>0.08901043428318599</c:v>
                </c:pt>
                <c:pt idx="6">
                  <c:v>0.11588715556988459</c:v>
                </c:pt>
                <c:pt idx="7">
                  <c:v>0.38683540238311287</c:v>
                </c:pt>
                <c:pt idx="8">
                  <c:v>0.008171563093686076</c:v>
                </c:pt>
                <c:pt idx="9">
                  <c:v>0.3944030874675362</c:v>
                </c:pt>
                <c:pt idx="10">
                  <c:v>0.003171066126869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1423997467493267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5205229389434692</c:v>
                </c:pt>
                <c:pt idx="1">
                  <c:v>0.07085400516439393</c:v>
                </c:pt>
                <c:pt idx="4">
                  <c:v>0.22945432953046957</c:v>
                </c:pt>
                <c:pt idx="5">
                  <c:v>0.00381488822241231</c:v>
                </c:pt>
                <c:pt idx="6">
                  <c:v>0.45957844987696017</c:v>
                </c:pt>
                <c:pt idx="7">
                  <c:v>0.19641326098319853</c:v>
                </c:pt>
                <c:pt idx="10">
                  <c:v>0.01467023590153841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284521370912834</c:v>
                </c:pt>
                <c:pt idx="4">
                  <c:v>0.09721766815684785</c:v>
                </c:pt>
                <c:pt idx="6">
                  <c:v>0.1911152194331892</c:v>
                </c:pt>
                <c:pt idx="7">
                  <c:v>0.5673684906226534</c:v>
                </c:pt>
                <c:pt idx="8">
                  <c:v>0.0034411113190741596</c:v>
                </c:pt>
                <c:pt idx="10">
                  <c:v>0.10745682504514192</c:v>
                </c:pt>
                <c:pt idx="11">
                  <c:v>0.03002206063263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43253304601556915</c:v>
                </c:pt>
                <c:pt idx="8">
                  <c:v>0.862817425129608</c:v>
                </c:pt>
                <c:pt idx="9">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240477465735825</c:v>
                </c:pt>
                <c:pt idx="2">
                  <c:v>0.13191205784668772</c:v>
                </c:pt>
                <c:pt idx="3">
                  <c:v>0.01954729740219114</c:v>
                </c:pt>
                <c:pt idx="5">
                  <c:v>0.39049046490337336</c:v>
                </c:pt>
                <c:pt idx="8">
                  <c:v>0.44042776777347037</c:v>
                </c:pt>
                <c:pt idx="9">
                  <c:v>0.015660373016532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5</c:v>
                </c:pt>
                <c:pt idx="1">
                  <c:v>0.005180354293565684</c:v>
                </c:pt>
                <c:pt idx="2">
                  <c:v>0.06475586677898293</c:v>
                </c:pt>
                <c:pt idx="3">
                  <c:v>0.10461701106794237</c:v>
                </c:pt>
                <c:pt idx="4">
                  <c:v>0.018021381861367716</c:v>
                </c:pt>
                <c:pt idx="5">
                  <c:v>0.1998874942752772</c:v>
                </c:pt>
                <c:pt idx="6">
                  <c:v>0.025989686419916082</c:v>
                </c:pt>
                <c:pt idx="7">
                  <c:v>0.060607765535214686</c:v>
                </c:pt>
                <c:pt idx="8">
                  <c:v>0.3320802949648151</c:v>
                </c:pt>
                <c:pt idx="9">
                  <c:v>0.12980514707688273</c:v>
                </c:pt>
                <c:pt idx="10">
                  <c:v>0.0297746515625652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0812154895849335</c:v>
                </c:pt>
                <c:pt idx="3">
                  <c:v>0.0053404629914445435</c:v>
                </c:pt>
                <c:pt idx="5">
                  <c:v>0.0007061419370462419</c:v>
                </c:pt>
                <c:pt idx="8">
                  <c:v>0.007958913973581195</c:v>
                </c:pt>
                <c:pt idx="9">
                  <c:v>0.0014048948826338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5</c:v>
                </c:pt>
                <c:pt idx="2">
                  <c:v>0.08802611116681852</c:v>
                </c:pt>
                <c:pt idx="3">
                  <c:v>0.14262715024337333</c:v>
                </c:pt>
                <c:pt idx="5">
                  <c:v>0.22104468597369087</c:v>
                </c:pt>
                <c:pt idx="6">
                  <c:v>0.0009693855530901747</c:v>
                </c:pt>
                <c:pt idx="7">
                  <c:v>0.001866192861775446</c:v>
                </c:pt>
                <c:pt idx="8">
                  <c:v>0.36373832536069917</c:v>
                </c:pt>
                <c:pt idx="9">
                  <c:v>0.1479064666886797</c:v>
                </c:pt>
                <c:pt idx="11">
                  <c:v>0.00387651623085406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5360275196546936</c:v>
                </c:pt>
                <c:pt idx="3">
                  <c:v>0.00349185558543508</c:v>
                </c:pt>
                <c:pt idx="5">
                  <c:v>0.0015040910202591446</c:v>
                </c:pt>
                <c:pt idx="8">
                  <c:v>0.0053456556705909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25</c:v>
                </c:pt>
                <c:pt idx="1">
                  <c:v>0.005575455790256508</c:v>
                </c:pt>
                <c:pt idx="2">
                  <c:v>0.06814721198565897</c:v>
                </c:pt>
                <c:pt idx="3">
                  <c:v>0.11028045551334936</c:v>
                </c:pt>
                <c:pt idx="4">
                  <c:v>0.01738710146978373</c:v>
                </c:pt>
                <c:pt idx="5">
                  <c:v>0.20733639545642582</c:v>
                </c:pt>
                <c:pt idx="6">
                  <c:v>0.026923792213839906</c:v>
                </c:pt>
                <c:pt idx="7">
                  <c:v>0.05195735739691205</c:v>
                </c:pt>
                <c:pt idx="8">
                  <c:v>0.3308461997880531</c:v>
                </c:pt>
                <c:pt idx="9">
                  <c:v>0.12682383401021838</c:v>
                </c:pt>
                <c:pt idx="10">
                  <c:v>0.026739845540273522</c:v>
                </c:pt>
                <c:pt idx="11">
                  <c:v>0.0008054054550708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7290459149053223</c:v>
                </c:pt>
                <c:pt idx="8">
                  <c:v>0.006215875943684904</c:v>
                </c:pt>
                <c:pt idx="10">
                  <c:v>0.00523375439213839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5</c:v>
                </c:pt>
                <c:pt idx="1">
                  <c:v>0.005180354293565684</c:v>
                </c:pt>
                <c:pt idx="2">
                  <c:v>0.06475586677898293</c:v>
                </c:pt>
                <c:pt idx="3">
                  <c:v>0.10461701106794237</c:v>
                </c:pt>
                <c:pt idx="4">
                  <c:v>0.018021381861367716</c:v>
                </c:pt>
                <c:pt idx="5">
                  <c:v>0.1998874942752772</c:v>
                </c:pt>
                <c:pt idx="6">
                  <c:v>0.025989686419916082</c:v>
                </c:pt>
                <c:pt idx="7">
                  <c:v>0.060607765535214686</c:v>
                </c:pt>
                <c:pt idx="8">
                  <c:v>0.3320802949648151</c:v>
                </c:pt>
                <c:pt idx="9">
                  <c:v>0.12980514707688273</c:v>
                </c:pt>
                <c:pt idx="10">
                  <c:v>0.0297746515625652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8658240570478485</c:v>
                </c:pt>
                <c:pt idx="8">
                  <c:v>0.007019763196135041</c:v>
                </c:pt>
                <c:pt idx="10">
                  <c:v>0.0069248504248819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5</c:v>
                </c:pt>
                <c:pt idx="2">
                  <c:v>0.08802611116681852</c:v>
                </c:pt>
                <c:pt idx="3">
                  <c:v>0.14262715024337333</c:v>
                </c:pt>
                <c:pt idx="5">
                  <c:v>0.22104468597369087</c:v>
                </c:pt>
                <c:pt idx="6">
                  <c:v>0.0009693855530901747</c:v>
                </c:pt>
                <c:pt idx="7">
                  <c:v>0.001866192861775446</c:v>
                </c:pt>
                <c:pt idx="8">
                  <c:v>0.36373832536069917</c:v>
                </c:pt>
                <c:pt idx="9">
                  <c:v>0.1479064666886797</c:v>
                </c:pt>
                <c:pt idx="11">
                  <c:v>0.00387651623085406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58112429236194</c:v>
                </c:pt>
                <c:pt idx="7">
                  <c:v>0.006326594173333363</c:v>
                </c:pt>
                <c:pt idx="10">
                  <c:v>0.0059174584690785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5</c:v>
                </c:pt>
                <c:pt idx="1">
                  <c:v>0.028441740379247186</c:v>
                </c:pt>
                <c:pt idx="2">
                  <c:v>0.009761321362807114</c:v>
                </c:pt>
                <c:pt idx="3">
                  <c:v>0.030379211598501585</c:v>
                </c:pt>
                <c:pt idx="4">
                  <c:v>0.09760051376392251</c:v>
                </c:pt>
                <c:pt idx="5">
                  <c:v>0.04625580337690843</c:v>
                </c:pt>
                <c:pt idx="6">
                  <c:v>0.2117089305351219</c:v>
                </c:pt>
                <c:pt idx="7">
                  <c:v>0.32083983687169554</c:v>
                </c:pt>
                <c:pt idx="8">
                  <c:v>0.09078708800262184</c:v>
                </c:pt>
                <c:pt idx="9">
                  <c:v>0.11338747694483581</c:v>
                </c:pt>
                <c:pt idx="10">
                  <c:v>0.045216353372256775</c:v>
                </c:pt>
                <c:pt idx="11">
                  <c:v>0.0007565813878529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6382732248426071</c:v>
                </c:pt>
                <c:pt idx="6">
                  <c:v>0.0029900386807783577</c:v>
                </c:pt>
                <c:pt idx="7">
                  <c:v>0.011047008723508169</c:v>
                </c:pt>
                <c:pt idx="9">
                  <c:v>0.0054890991360037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7">
                  <c:v>0.024821357447577314</c:v>
                </c:pt>
                <c:pt idx="9">
                  <c:v>0.44318587347492583</c:v>
                </c:pt>
                <c:pt idx="10">
                  <c:v>0.03191924475174359</c:v>
                </c:pt>
                <c:pt idx="11">
                  <c:v>0.00171777100381233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3150243301704233</c:v>
                </c:pt>
                <c:pt idx="2">
                  <c:v>0.03196125829072428</c:v>
                </c:pt>
                <c:pt idx="3">
                  <c:v>0.002347527793684106</c:v>
                </c:pt>
                <c:pt idx="4">
                  <c:v>0.002073048452954874</c:v>
                </c:pt>
                <c:pt idx="5">
                  <c:v>0.3816274858616097</c:v>
                </c:pt>
                <c:pt idx="8">
                  <c:v>0.5662985597683995</c:v>
                </c:pt>
                <c:pt idx="9">
                  <c:v>0.014377095502457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373416783754473</c:v>
                </c:pt>
                <c:pt idx="1">
                  <c:v>0.03204776445831363</c:v>
                </c:pt>
                <c:pt idx="2">
                  <c:v>0.008405359593863451</c:v>
                </c:pt>
                <c:pt idx="3">
                  <c:v>0.029240642403088886</c:v>
                </c:pt>
                <c:pt idx="4">
                  <c:v>0.0954400099261946</c:v>
                </c:pt>
                <c:pt idx="5">
                  <c:v>0.04125013737428249</c:v>
                </c:pt>
                <c:pt idx="6">
                  <c:v>0.1994191602003694</c:v>
                </c:pt>
                <c:pt idx="7">
                  <c:v>0.325267885482307</c:v>
                </c:pt>
                <c:pt idx="8">
                  <c:v>0.09823377550427922</c:v>
                </c:pt>
                <c:pt idx="9">
                  <c:v>0.11967348660579877</c:v>
                </c:pt>
                <c:pt idx="10">
                  <c:v>0.04641859315961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9944876440793532</c:v>
                </c:pt>
                <c:pt idx="5">
                  <c:v>0.002441524269792252</c:v>
                </c:pt>
                <c:pt idx="8">
                  <c:v>0.010215575661117129</c:v>
                </c:pt>
                <c:pt idx="9">
                  <c:v>0.007630816424470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6945324985376724</c:v>
                </c:pt>
                <c:pt idx="6">
                  <c:v>0.017951669769388317</c:v>
                </c:pt>
                <c:pt idx="7">
                  <c:v>0.019052357072915777</c:v>
                </c:pt>
                <c:pt idx="9">
                  <c:v>0.45200352226145757</c:v>
                </c:pt>
                <c:pt idx="10">
                  <c:v>0.03406943844743591</c:v>
                </c:pt>
                <c:pt idx="12">
                  <c:v>0.00745271472126842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7133835699403206</c:v>
                </c:pt>
                <c:pt idx="2">
                  <c:v>0.019618191826917</c:v>
                </c:pt>
                <c:pt idx="3">
                  <c:v>0.0007402755160323117</c:v>
                </c:pt>
                <c:pt idx="5">
                  <c:v>0.3297295060960824</c:v>
                </c:pt>
                <c:pt idx="8">
                  <c:v>0.6455594961322718</c:v>
                </c:pt>
                <c:pt idx="9">
                  <c:v>0.0036391468587563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960365324271645</c:v>
                </c:pt>
                <c:pt idx="2">
                  <c:v>0.03611491103837361</c:v>
                </c:pt>
                <c:pt idx="3">
                  <c:v>0.13704769360926553</c:v>
                </c:pt>
                <c:pt idx="5">
                  <c:v>0.26434531785433935</c:v>
                </c:pt>
                <c:pt idx="6">
                  <c:v>0.0011162341815090673</c:v>
                </c:pt>
                <c:pt idx="7">
                  <c:v>0.003335910917712949</c:v>
                </c:pt>
                <c:pt idx="8">
                  <c:v>0.4005920055997593</c:v>
                </c:pt>
                <c:pt idx="9">
                  <c:v>0.14397146372186226</c:v>
                </c:pt>
                <c:pt idx="10">
                  <c:v>0.00086189692849985</c:v>
                </c:pt>
                <c:pt idx="11">
                  <c:v>0.00521920455530330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5</c:v>
                </c:pt>
                <c:pt idx="1">
                  <c:v>0.005180354293565684</c:v>
                </c:pt>
                <c:pt idx="2">
                  <c:v>0.06475586677898293</c:v>
                </c:pt>
                <c:pt idx="3">
                  <c:v>0.10461701106794237</c:v>
                </c:pt>
                <c:pt idx="4">
                  <c:v>0.018021381861367716</c:v>
                </c:pt>
                <c:pt idx="5">
                  <c:v>0.1998874942752772</c:v>
                </c:pt>
                <c:pt idx="6">
                  <c:v>0.025989686419916082</c:v>
                </c:pt>
                <c:pt idx="7">
                  <c:v>0.060607765535214686</c:v>
                </c:pt>
                <c:pt idx="8">
                  <c:v>0.3320802949648151</c:v>
                </c:pt>
                <c:pt idx="9">
                  <c:v>0.12980514707688273</c:v>
                </c:pt>
                <c:pt idx="10">
                  <c:v>0.0297746515625652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968080919904252</c:v>
                </c:pt>
                <c:pt idx="5">
                  <c:v>0.004484730103724654</c:v>
                </c:pt>
                <c:pt idx="8">
                  <c:v>0.011764920110831023</c:v>
                </c:pt>
                <c:pt idx="9">
                  <c:v>0.00668743189734493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9944007839767784</c:v>
                </c:pt>
                <c:pt idx="6">
                  <c:v>0.016155373871998238</c:v>
                </c:pt>
                <c:pt idx="7">
                  <c:v>0.031881979303787146</c:v>
                </c:pt>
                <c:pt idx="9">
                  <c:v>0.0012662711277150168</c:v>
                </c:pt>
                <c:pt idx="10">
                  <c:v>0.45125440925969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809060429939978</c:v>
                </c:pt>
                <c:pt idx="2">
                  <c:v>0.04854904242544989</c:v>
                </c:pt>
                <c:pt idx="3">
                  <c:v>0.00824377547534882</c:v>
                </c:pt>
                <c:pt idx="4">
                  <c:v>0.0022353924353407596</c:v>
                </c:pt>
                <c:pt idx="5">
                  <c:v>0.4711012652102141</c:v>
                </c:pt>
                <c:pt idx="8">
                  <c:v>0.45221803035632874</c:v>
                </c:pt>
                <c:pt idx="9">
                  <c:v>0.0157715880543236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855490696675935</c:v>
                </c:pt>
                <c:pt idx="1">
                  <c:v>0.028441740379247186</c:v>
                </c:pt>
                <c:pt idx="2">
                  <c:v>0.009761321362807114</c:v>
                </c:pt>
                <c:pt idx="3">
                  <c:v>0.030379211598501585</c:v>
                </c:pt>
                <c:pt idx="4">
                  <c:v>0.09760051376392251</c:v>
                </c:pt>
                <c:pt idx="5">
                  <c:v>0.04625580337690843</c:v>
                </c:pt>
                <c:pt idx="6">
                  <c:v>0.2117089305351219</c:v>
                </c:pt>
                <c:pt idx="7">
                  <c:v>0.32083983687169554</c:v>
                </c:pt>
                <c:pt idx="8">
                  <c:v>0.09078708800262184</c:v>
                </c:pt>
                <c:pt idx="9">
                  <c:v>0.11338747694483581</c:v>
                </c:pt>
                <c:pt idx="10">
                  <c:v>0.045216353372256775</c:v>
                </c:pt>
                <c:pt idx="11">
                  <c:v>0.0007565813878529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1365939873101784</c:v>
                </c:pt>
                <c:pt idx="3">
                  <c:v>0.00672495241358043</c:v>
                </c:pt>
                <c:pt idx="5">
                  <c:v>0.004236687653741004</c:v>
                </c:pt>
                <c:pt idx="8">
                  <c:v>0.008253454852098161</c:v>
                </c:pt>
                <c:pt idx="9">
                  <c:v>0.00164388078539409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7914751728301275</c:v>
                </c:pt>
                <c:pt idx="6">
                  <c:v>0.018221491435368168</c:v>
                </c:pt>
                <c:pt idx="7">
                  <c:v>0.024821357447577314</c:v>
                </c:pt>
                <c:pt idx="9">
                  <c:v>0.44318587347492583</c:v>
                </c:pt>
                <c:pt idx="10">
                  <c:v>0.03191924475174359</c:v>
                </c:pt>
                <c:pt idx="11">
                  <c:v>0.00171777100381233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415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561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09087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93662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8506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70023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3795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52292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3270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707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65335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620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674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84844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51626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38281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349662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862812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30656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35911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99576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49982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69653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661517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230492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652642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840126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77762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24668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33952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679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430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5360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2571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9241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074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